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5466" r:id="rId4"/>
  </p:sldMasterIdLst>
  <p:notesMasterIdLst>
    <p:notesMasterId r:id="rId6"/>
  </p:notesMasterIdLst>
  <p:handoutMasterIdLst>
    <p:handoutMasterId r:id="rId7"/>
  </p:handoutMasterIdLst>
  <p:sldIdLst>
    <p:sldId id="30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CF34"/>
    <a:srgbClr val="F7B900"/>
    <a:srgbClr val="333333"/>
    <a:srgbClr val="4B4B4B"/>
    <a:srgbClr val="43B649"/>
    <a:srgbClr val="6D2077"/>
    <a:srgbClr val="32B5FC"/>
    <a:srgbClr val="297DFD"/>
    <a:srgbClr val="004C97"/>
    <a:srgbClr val="84BD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0206" autoAdjust="0"/>
  </p:normalViewPr>
  <p:slideViewPr>
    <p:cSldViewPr snapToGrid="0">
      <p:cViewPr varScale="1">
        <p:scale>
          <a:sx n="98" d="100"/>
          <a:sy n="98" d="100"/>
        </p:scale>
        <p:origin x="-201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3" d="100"/>
          <a:sy n="63" d="100"/>
        </p:scale>
        <p:origin x="3134" y="5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33400" y="190500"/>
            <a:ext cx="34544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33400" y="647700"/>
            <a:ext cx="34544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9EABD144-5AAA-491A-B0E3-373BE1B77AA0}" type="datetime1">
              <a:rPr lang="en-US" sz="1000" smtClean="0">
                <a:solidFill>
                  <a:schemeClr val="tx2"/>
                </a:solidFill>
                <a:latin typeface="+mj-lt"/>
              </a:rPr>
              <a:pPr algn="l"/>
              <a:t>7/17/2017</a:t>
            </a:fld>
            <a:endParaRPr lang="en-US" sz="10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57200" y="8686800"/>
            <a:ext cx="2767013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624263" y="8685213"/>
            <a:ext cx="2776537" cy="3063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Nr.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51305" y="26924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746146" y="6576746"/>
            <a:ext cx="2711804" cy="2033854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87350" y="1104900"/>
            <a:ext cx="6051550" cy="5372100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836997" y="8685213"/>
            <a:ext cx="2668587" cy="306387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90525" y="323850"/>
            <a:ext cx="3695700" cy="4572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90525" y="781050"/>
            <a:ext cx="3695700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fld id="{E81CBADE-A14A-487A-A910-36AD5581741C}" type="datetime1">
              <a:rPr lang="en-US" smtClean="0"/>
              <a:pPr/>
              <a:t>7/17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5073225" y="406400"/>
            <a:ext cx="1416522" cy="307297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33179981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6017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  <a:ln/>
        </p:spPr>
      </p:sp>
      <p:sp>
        <p:nvSpPr>
          <p:cNvPr id="3286018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indent="0" defTabSz="844011">
              <a:lnSpc>
                <a:spcPct val="90000"/>
              </a:lnSpc>
              <a:buNone/>
              <a:defRPr/>
            </a:pPr>
            <a:endParaRPr lang="de-DE" b="1" dirty="0" smtClean="0"/>
          </a:p>
        </p:txBody>
      </p:sp>
      <p:sp>
        <p:nvSpPr>
          <p:cNvPr id="328601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28460EA-D79F-4343-909A-DB74931FF91D}" type="slidenum">
              <a:rPr lang="de-DE" smtClean="0">
                <a:solidFill>
                  <a:prstClr val="black"/>
                </a:solidFill>
                <a:cs typeface="Arial"/>
                <a:sym typeface="Arial"/>
              </a:rPr>
              <a:pPr/>
              <a:t>0</a:t>
            </a:fld>
            <a:endParaRPr lang="de-DE" smtClean="0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15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chemeClr val="tx2"/>
                </a:solidFill>
                <a:ea typeface="Arial" charset="0"/>
                <a:cs typeface="Arial" charset="0"/>
              </a:rPr>
              <a:t>Copyright © 2017 </a:t>
            </a:r>
            <a:r>
              <a:rPr lang="en-US" sz="900" dirty="0" err="1" smtClean="0">
                <a:solidFill>
                  <a:schemeClr val="tx2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 smtClean="0">
                <a:solidFill>
                  <a:schemeClr val="tx2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01784" y="6666344"/>
            <a:ext cx="420255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6"/>
          <p:cNvSpPr txBox="1">
            <a:spLocks/>
          </p:cNvSpPr>
          <p:nvPr/>
        </p:nvSpPr>
        <p:spPr>
          <a:xfrm>
            <a:off x="6786565" y="6424614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2"/>
                </a:solidFill>
              </a:rPr>
              <a:pPr algn="r"/>
              <a:t>‹Nr.›</a:t>
            </a:fld>
            <a:endParaRPr lang="en-US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"/>
          <p:cNvSpPr>
            <a:spLocks noGrp="1"/>
          </p:cNvSpPr>
          <p:nvPr>
            <p:ph type="dt" sz="half" idx="12"/>
          </p:nvPr>
        </p:nvSpPr>
        <p:spPr>
          <a:xfrm>
            <a:off x="457200" y="6657110"/>
            <a:ext cx="272473" cy="12238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DFCF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512526"/>
            <a:ext cx="9144000" cy="1345474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747510"/>
            <a:ext cx="8348472" cy="3778308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73951"/>
            <a:ext cx="571500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6786565" y="6480030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chemeClr val="tx2"/>
                </a:solidFill>
              </a:rPr>
              <a:pPr algn="r"/>
              <a:t>‹Nr.›</a:t>
            </a:fld>
            <a:endParaRPr lang="en-US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2779" name="think-cell Folie" r:id="rId3" imgW="270" imgH="270" progId="TCLayout.ActiveDocument.1">
              <p:embed/>
            </p:oleObj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24671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</a:t>
            </a:r>
            <a:endParaRPr lang="de-DE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493340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3803" name="think-cell Folie" r:id="rId3" imgW="270" imgH="270" progId="TCLayout.ActiveDocument.1">
              <p:embed/>
            </p:oleObj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© 2016, IMS HEALTH</a:t>
            </a:r>
            <a:endParaRPr lang="de-DE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473975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2234275" y="6604000"/>
            <a:ext cx="6318598" cy="254000"/>
          </a:xfrm>
          <a:prstGeom prst="rect">
            <a:avLst/>
          </a:prstGeom>
        </p:spPr>
        <p:txBody>
          <a:bodyPr tIns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8443838" y="5904347"/>
            <a:ext cx="503382" cy="131618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8432799" y="5781964"/>
            <a:ext cx="525461" cy="11083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84047" y="5895623"/>
            <a:ext cx="7780898" cy="7817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5888">
              <a:lnSpc>
                <a:spcPct val="100000"/>
              </a:lnSpc>
              <a:spcBef>
                <a:spcPts val="200"/>
              </a:spcBef>
              <a:buFont typeface="Arial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2pPr>
            <a:lvl3pPr marL="457200" indent="-171450">
              <a:lnSpc>
                <a:spcPct val="100000"/>
              </a:lnSpc>
              <a:buFont typeface="Arial" pitchFamily="34" charset="0"/>
              <a:buChar char="›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1600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</a:t>
            </a:r>
          </a:p>
          <a:p>
            <a:pPr lvl="1"/>
            <a:r>
              <a:rPr lang="en-US" noProof="0" dirty="0" smtClean="0"/>
              <a:t>12pt Arial bullet 1</a:t>
            </a:r>
          </a:p>
          <a:p>
            <a:pPr lvl="1"/>
            <a:r>
              <a:rPr lang="en-US" noProof="0" dirty="0" smtClean="0"/>
              <a:t>12pt Arial bullet 2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 bwMode="white">
          <a:xfrm>
            <a:off x="8160772" y="6424764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84047" y="1662977"/>
            <a:ext cx="8348472" cy="393426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143796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755" name="think-cell Folie" r:id="rId3" imgW="360" imgH="360" progId="TCLayout.ActiveDocument.1">
              <p:embed/>
            </p:oleObj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028431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61" name="think-cell Folie" r:id="rId3" imgW="360" imgH="360" progId="TCLayout.ActiveDocument.1">
              <p:embed/>
            </p:oleObj>
          </a:graphicData>
        </a:graphic>
      </p:graphicFrame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09418" cy="131618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4672583" y="1662977"/>
            <a:ext cx="4041648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384047" y="1662977"/>
            <a:ext cx="4038600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="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>
                <a:solidFill>
                  <a:srgbClr val="414343"/>
                </a:solidFill>
              </a:defRPr>
            </a:lvl2pPr>
            <a:lvl3pPr>
              <a:buNone/>
              <a:defRPr sz="1600" i="1">
                <a:solidFill>
                  <a:srgbClr val="414343"/>
                </a:solidFill>
              </a:defRPr>
            </a:lvl3pPr>
            <a:lvl4pPr>
              <a:buNone/>
              <a:defRPr sz="1600" i="1">
                <a:solidFill>
                  <a:srgbClr val="414343"/>
                </a:solidFill>
              </a:defRPr>
            </a:lvl4pPr>
            <a:lvl5pPr>
              <a:buNone/>
              <a:defRPr sz="1600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11018" y="6680201"/>
            <a:ext cx="337127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062471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223259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4047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16935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5" name="think-cell Folie" r:id="rId3" imgW="360" imgH="360" progId="TCLayout.ActiveDocument.1">
              <p:embed/>
            </p:oleObj>
          </a:graphicData>
        </a:graphic>
      </p:graphicFrame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57200" y="6666343"/>
            <a:ext cx="272473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50171997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37" name="think-cell Folie" r:id="rId17" imgW="360" imgH="360" progId="TCLayout.ActiveDocument.1">
              <p:embed/>
            </p:oleObj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4" r:id="rId7"/>
    <p:sldLayoutId id="2147485475" r:id="rId8"/>
    <p:sldLayoutId id="2147485477" r:id="rId9"/>
    <p:sldLayoutId id="2147485478" r:id="rId10"/>
    <p:sldLayoutId id="2147485483" r:id="rId11"/>
    <p:sldLayoutId id="2147485484" r:id="rId12"/>
    <p:sldLayoutId id="2147485488" r:id="rId13"/>
    <p:sldLayoutId id="2147485489" r:id="rId14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slideLayout" Target="../slideLayouts/slideLayout5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7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oleObject" Target="../embeddings/oleObject7.bin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044890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218" name="think-cell Folie" r:id="rId28" imgW="360" imgH="360" progId="TCLayout.ActiveDocument.1">
              <p:embed/>
            </p:oleObj>
          </a:graphicData>
        </a:graphic>
      </p:graphicFrame>
      <p:sp>
        <p:nvSpPr>
          <p:cNvPr id="42" name="Rechteck 4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200" dirty="0">
              <a:latin typeface="Arial"/>
              <a:sym typeface="+mn-lt"/>
            </a:endParaRPr>
          </a:p>
        </p:txBody>
      </p:sp>
      <p:sp>
        <p:nvSpPr>
          <p:cNvPr id="2479108" name="Rectangle 4"/>
          <p:cNvSpPr>
            <a:spLocks noChangeArrowheads="1"/>
          </p:cNvSpPr>
          <p:nvPr/>
        </p:nvSpPr>
        <p:spPr bwMode="auto">
          <a:xfrm>
            <a:off x="501650" y="5948462"/>
            <a:ext cx="75596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/>
          <a:p>
            <a:pPr eaLnBrk="0" hangingPunct="0">
              <a:tabLst>
                <a:tab pos="628650" algn="l"/>
              </a:tabLst>
            </a:pPr>
            <a:r>
              <a:rPr lang="de-DE" sz="1000" dirty="0">
                <a:latin typeface="Arial"/>
                <a:cs typeface="Arial"/>
                <a:sym typeface="Arial"/>
              </a:rPr>
              <a:t>Quelle: </a:t>
            </a:r>
            <a:r>
              <a:rPr lang="en-US" sz="1000" dirty="0" smtClean="0">
                <a:latin typeface="Arial"/>
                <a:cs typeface="Arial"/>
                <a:sym typeface="Arial"/>
              </a:rPr>
              <a:t>IMS NPA</a:t>
            </a:r>
            <a:r>
              <a:rPr lang="en-US" sz="1000" baseline="30000" dirty="0" smtClean="0">
                <a:latin typeface="Arial"/>
                <a:cs typeface="Arial"/>
                <a:sym typeface="Arial"/>
              </a:rPr>
              <a:t>®</a:t>
            </a:r>
            <a:r>
              <a:rPr lang="en-US" sz="1000" dirty="0" smtClean="0">
                <a:latin typeface="Arial"/>
                <a:cs typeface="Arial"/>
                <a:sym typeface="Arial"/>
              </a:rPr>
              <a:t> </a:t>
            </a:r>
            <a:endParaRPr lang="de-DE" sz="100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35" name="Objekt 3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96339783"/>
              </p:ext>
            </p:extLst>
          </p:nvPr>
        </p:nvGraphicFramePr>
        <p:xfrm>
          <a:off x="990599" y="1523999"/>
          <a:ext cx="7534278" cy="3495690"/>
        </p:xfrm>
        <a:graphic>
          <a:graphicData uri="http://schemas.openxmlformats.org/presentationml/2006/ole">
            <p:oleObj spid="_x0000_s94219" name="Chart" r:id="rId29" imgW="7534278" imgH="3495690" progId="MSGraph.Chart.8">
              <p:embed followColorScheme="full"/>
            </p:oleObj>
          </a:graphicData>
        </a:graphic>
      </p:graphicFrame>
      <p:sp>
        <p:nvSpPr>
          <p:cNvPr id="9" name="Rechteck 8"/>
          <p:cNvSpPr/>
          <p:nvPr>
            <p:custDataLst>
              <p:tags r:id="rId3"/>
            </p:custDataLst>
          </p:nvPr>
        </p:nvSpPr>
        <p:spPr bwMode="gray">
          <a:xfrm>
            <a:off x="681038" y="2147888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0B38E44B-F0EA-47E5-B346-73BD42A5F0B2}" type="datetime'''''''6''''''''''.''''''0''''''0''''''''''0''''''''''''''''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6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0" name="Rechteck 9"/>
          <p:cNvSpPr/>
          <p:nvPr>
            <p:custDataLst>
              <p:tags r:id="rId4"/>
            </p:custDataLst>
          </p:nvPr>
        </p:nvSpPr>
        <p:spPr bwMode="gray">
          <a:xfrm>
            <a:off x="681038" y="1728788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38D255B-5DD0-4CFB-B39F-D3E2B5A1592B}" type="datetime'''''''''''''7''.''''0''''''''''''0''''''''0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7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" name="Rechteck 6"/>
          <p:cNvSpPr/>
          <p:nvPr>
            <p:custDataLst>
              <p:tags r:id="rId5"/>
            </p:custDataLst>
          </p:nvPr>
        </p:nvSpPr>
        <p:spPr bwMode="gray">
          <a:xfrm>
            <a:off x="681038" y="2557463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92290122-23CF-4FB3-8377-7B517F3DC0AD}" type="datetime'''''''''''''''''5''.''''''0''''''''0''''''''0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5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Rechteck 5"/>
          <p:cNvSpPr/>
          <p:nvPr>
            <p:custDataLst>
              <p:tags r:id="rId6"/>
            </p:custDataLst>
          </p:nvPr>
        </p:nvSpPr>
        <p:spPr bwMode="gray">
          <a:xfrm>
            <a:off x="681038" y="2976563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97110562-797E-4B02-93B5-48291D3D9D51}" type="datetime'''''''''''4''''''''''''''''''''''''''''.''''''0''00''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4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" name="Rechteck 4"/>
          <p:cNvSpPr/>
          <p:nvPr>
            <p:custDataLst>
              <p:tags r:id="rId7"/>
            </p:custDataLst>
          </p:nvPr>
        </p:nvSpPr>
        <p:spPr bwMode="gray">
          <a:xfrm>
            <a:off x="681038" y="3386138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A35E067-4DC3-498B-978B-31ABCBF6C9AD}" type="datetime'''3''''''''''''''''.0''''0''0''''''''''''''''''''''''''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3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" name="Rechteck 3"/>
          <p:cNvSpPr/>
          <p:nvPr>
            <p:custDataLst>
              <p:tags r:id="rId8"/>
            </p:custDataLst>
          </p:nvPr>
        </p:nvSpPr>
        <p:spPr bwMode="gray">
          <a:xfrm>
            <a:off x="681038" y="3805238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B2D099E-07BE-475C-9120-BAB58396E238}" type="datetime'''''''''''2''.''''''''''''''''''''''00''0''''''''''''''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2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Rechteck 2"/>
          <p:cNvSpPr/>
          <p:nvPr>
            <p:custDataLst>
              <p:tags r:id="rId9"/>
            </p:custDataLst>
          </p:nvPr>
        </p:nvSpPr>
        <p:spPr bwMode="gray">
          <a:xfrm>
            <a:off x="681038" y="4214813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12ADAEA9-61D0-4A49-9486-A0748F644DC0}" type="datetime'''''''1''.''''''''''''''''''0''''''0''0''''''''''''''''''''''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1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Rechteck 1"/>
          <p:cNvSpPr/>
          <p:nvPr>
            <p:custDataLst>
              <p:tags r:id="rId10"/>
            </p:custDataLst>
          </p:nvPr>
        </p:nvSpPr>
        <p:spPr bwMode="gray">
          <a:xfrm>
            <a:off x="681038" y="4633913"/>
            <a:ext cx="379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33851A50-F745-40BB-B781-1C58C8DEEF6E}" type="datetime'0''''''''''.''''''''''0''''''''''''''''''''''''''''''0''0'">
              <a:rPr lang="de-DE" altLang="en-US" sz="120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 algn="r"/>
              <a:t>0.000</a:t>
            </a:fld>
            <a:endParaRPr lang="de-DE" sz="1200" dirty="0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3" name="Rechteck 22"/>
          <p:cNvSpPr/>
          <p:nvPr>
            <p:custDataLst>
              <p:tags r:id="rId11"/>
            </p:custDataLst>
          </p:nvPr>
        </p:nvSpPr>
        <p:spPr bwMode="auto">
          <a:xfrm>
            <a:off x="7070725" y="4827588"/>
            <a:ext cx="6032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5291C1E-C82D-427E-BDF8-FDD8A09A8137}" type="datetime''''''''' ''''''M''''''''''''''a''''i ''''''1''7'''''">
              <a:rPr lang="en-US" altLang="en-US" sz="1400" b="1">
                <a:cs typeface="Arial" panose="020B0604020202020204" pitchFamily="34" charset="0"/>
              </a:rPr>
              <a:pPr algn="ctr" eaLnBrk="0" hangingPunct="0"/>
              <a:t> Mai 17</a:t>
            </a:fld>
            <a:endParaRPr lang="de-DE" sz="1400" b="1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9146" name="Rechteck 2479145"/>
          <p:cNvSpPr/>
          <p:nvPr>
            <p:custDataLst>
              <p:tags r:id="rId12"/>
            </p:custDataLst>
          </p:nvPr>
        </p:nvSpPr>
        <p:spPr bwMode="gray">
          <a:xfrm>
            <a:off x="7089775" y="1728788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8575" tIns="0" rIns="285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D32CC8B8-77AC-4A21-AC3F-B89054060FD8}" type="datetime'''''''''6''''''''''.46''''''''''8'''''''''''''''''">
              <a:rPr lang="de-DE" altLang="en-US" sz="1600" b="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algn="ctr"/>
              <a:t>6.468</a:t>
            </a:fld>
            <a:endParaRPr lang="de-DE" sz="1600" b="1" dirty="0" smtClean="0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22" name="Rechteck 21"/>
          <p:cNvSpPr/>
          <p:nvPr>
            <p:custDataLst>
              <p:tags r:id="rId13"/>
            </p:custDataLst>
          </p:nvPr>
        </p:nvSpPr>
        <p:spPr bwMode="auto">
          <a:xfrm>
            <a:off x="5643563" y="4827588"/>
            <a:ext cx="70643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631DB4C-534A-4036-BE88-A0863D83A47B}" type="datetime''''' A''''''''p''''''''''''''''r''i''''''''''l'''' ''1''7'">
              <a:rPr lang="en-US" altLang="en-US" sz="1400" b="1">
                <a:cs typeface="Arial" panose="020B0604020202020204" pitchFamily="34" charset="0"/>
              </a:rPr>
              <a:pPr algn="ctr" eaLnBrk="0" hangingPunct="0"/>
              <a:t> April 17</a:t>
            </a:fld>
            <a:endParaRPr lang="de-DE" sz="1400" b="1" dirty="0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9145" name="Rechteck 2479144"/>
          <p:cNvSpPr/>
          <p:nvPr>
            <p:custDataLst>
              <p:tags r:id="rId14"/>
            </p:custDataLst>
          </p:nvPr>
        </p:nvSpPr>
        <p:spPr bwMode="gray">
          <a:xfrm>
            <a:off x="5713413" y="2682875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8575" tIns="0" rIns="285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68C19486-7935-42BD-AD9D-6B403A1C2A66}" type="datetime'''''''''''''''''''4''.''''2''''''7''''''''9'''''''''''''''">
              <a:rPr lang="de-DE" altLang="en-US" sz="1600" b="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algn="ctr"/>
              <a:t>4.279</a:t>
            </a:fld>
            <a:endParaRPr lang="de-DE" sz="1600" b="1" dirty="0" smtClean="0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Rechteck 20"/>
          <p:cNvSpPr/>
          <p:nvPr>
            <p:custDataLst>
              <p:tags r:id="rId15"/>
            </p:custDataLst>
          </p:nvPr>
        </p:nvSpPr>
        <p:spPr bwMode="auto">
          <a:xfrm>
            <a:off x="4264025" y="4827588"/>
            <a:ext cx="712788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61CB02C0-8943-4919-BA2D-2E4537ABB69B}" type="datetime''''''''''''''''''''''' ''''Mä''''r''''''z ''''''''17'''">
              <a:rPr lang="en-US" altLang="en-US" sz="1400" b="1">
                <a:cs typeface="Arial" panose="020B0604020202020204" pitchFamily="34" charset="0"/>
              </a:rPr>
              <a:pPr algn="ctr" eaLnBrk="0" hangingPunct="0"/>
              <a:t> März 17</a:t>
            </a:fld>
            <a:endParaRPr lang="de-DE" sz="1400" b="1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9144" name="Rechteck 2479143"/>
          <p:cNvSpPr/>
          <p:nvPr>
            <p:custDataLst>
              <p:tags r:id="rId16"/>
            </p:custDataLst>
          </p:nvPr>
        </p:nvSpPr>
        <p:spPr bwMode="gray">
          <a:xfrm>
            <a:off x="4337050" y="2959100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8575" tIns="0" rIns="285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2E9EB9D3-F793-4585-ABC1-72F106A28222}" type="datetime'''3''.''''''''''''''''''6''''''''0''''''''''''''''''''4'">
              <a:rPr lang="de-DE" altLang="en-US" sz="1600" b="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algn="ctr"/>
              <a:t>3.604</a:t>
            </a:fld>
            <a:endParaRPr lang="de-DE" sz="1600" b="1" dirty="0" smtClean="0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Rechteck 19"/>
          <p:cNvSpPr/>
          <p:nvPr>
            <p:custDataLst>
              <p:tags r:id="rId17"/>
            </p:custDataLst>
          </p:nvPr>
        </p:nvSpPr>
        <p:spPr bwMode="auto">
          <a:xfrm>
            <a:off x="2759075" y="4827588"/>
            <a:ext cx="9683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D5A9E9A-76BB-488E-ACE5-37B6B7D0141D}" type="datetime''' F''e''''b''''r''''''''''''''''u''a''r'' ''17'">
              <a:rPr lang="en-US" altLang="en-US" sz="1400" b="1">
                <a:cs typeface="Arial" panose="020B0604020202020204" pitchFamily="34" charset="0"/>
              </a:rPr>
              <a:pPr algn="ctr" eaLnBrk="0" hangingPunct="0"/>
              <a:t> Februar 17</a:t>
            </a:fld>
            <a:endParaRPr lang="de-DE" sz="1400" b="1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9143" name="Rechteck 2479142"/>
          <p:cNvSpPr/>
          <p:nvPr>
            <p:custDataLst>
              <p:tags r:id="rId18"/>
            </p:custDataLst>
          </p:nvPr>
        </p:nvSpPr>
        <p:spPr bwMode="gray">
          <a:xfrm>
            <a:off x="2960688" y="3463925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8575" tIns="0" rIns="285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99491CB2-B45A-47C6-88B6-967468B10518}" type="datetime'''''2.''''''''3''''''''''''''8''9'''''''''''''''''''''''''''''">
              <a:rPr lang="de-DE" altLang="en-US" sz="1600" b="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algn="ctr"/>
              <a:t>2.389</a:t>
            </a:fld>
            <a:endParaRPr lang="de-DE" sz="1600" b="1" dirty="0" smtClean="0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Rechteck 7"/>
          <p:cNvSpPr/>
          <p:nvPr>
            <p:custDataLst>
              <p:tags r:id="rId19"/>
            </p:custDataLst>
          </p:nvPr>
        </p:nvSpPr>
        <p:spPr bwMode="auto">
          <a:xfrm>
            <a:off x="1422400" y="4827588"/>
            <a:ext cx="8890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B219D20-83F9-42C7-B94D-F030D0A732AF}" type="datetime''''''''''''' J''''a''''''''n''ua''''r'' ''''''''''''17'''">
              <a:rPr lang="en-US" altLang="en-US" sz="1400" b="1">
                <a:cs typeface="Arial" panose="020B0604020202020204" pitchFamily="34" charset="0"/>
              </a:rPr>
              <a:pPr algn="ctr" eaLnBrk="0" hangingPunct="0"/>
              <a:t> Januar 17</a:t>
            </a:fld>
            <a:endParaRPr lang="de-DE" sz="1400" b="1" dirty="0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479142" name="Rechteck 2479141"/>
          <p:cNvSpPr/>
          <p:nvPr>
            <p:custDataLst>
              <p:tags r:id="rId20"/>
            </p:custDataLst>
          </p:nvPr>
        </p:nvSpPr>
        <p:spPr bwMode="gray">
          <a:xfrm>
            <a:off x="1584325" y="3435350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8575" tIns="0" rIns="285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8AE0A9B6-1490-4C66-873A-7BE923D00D39}" type="datetime'2''''''.''''''''''4''''''58'''''''''''''''''''''">
              <a:rPr lang="de-DE" altLang="en-US" sz="1600" b="1">
                <a:solidFill>
                  <a:schemeClr val="tx1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 algn="ctr"/>
              <a:t>2.458</a:t>
            </a:fld>
            <a:endParaRPr lang="de-DE" sz="1600" b="1" dirty="0" smtClean="0">
              <a:solidFill>
                <a:schemeClr val="tx1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53" name="Straight Connector 52"/>
          <p:cNvCxnSpPr/>
          <p:nvPr>
            <p:custDataLst>
              <p:tags r:id="rId21"/>
            </p:custDataLst>
          </p:nvPr>
        </p:nvCxnSpPr>
        <p:spPr bwMode="gray">
          <a:xfrm>
            <a:off x="1954213" y="5367338"/>
            <a:ext cx="328613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hteck 24"/>
          <p:cNvSpPr/>
          <p:nvPr>
            <p:custDataLst>
              <p:tags r:id="rId22"/>
            </p:custDataLst>
          </p:nvPr>
        </p:nvSpPr>
        <p:spPr bwMode="gray">
          <a:xfrm>
            <a:off x="5508625" y="5273675"/>
            <a:ext cx="250825" cy="187325"/>
          </a:xfrm>
          <a:prstGeom prst="rect">
            <a:avLst/>
          </a:prstGeom>
          <a:solidFill>
            <a:srgbClr val="1DAAE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00" b="1" smtClean="0">
              <a:solidFill>
                <a:srgbClr val="111111"/>
              </a:solidFill>
            </a:endParaRPr>
          </a:p>
        </p:txBody>
      </p:sp>
      <p:sp>
        <p:nvSpPr>
          <p:cNvPr id="34" name="Ellipse 33"/>
          <p:cNvSpPr/>
          <p:nvPr>
            <p:custDataLst>
              <p:tags r:id="rId23"/>
            </p:custDataLst>
          </p:nvPr>
        </p:nvSpPr>
        <p:spPr bwMode="auto">
          <a:xfrm>
            <a:off x="2046288" y="5295900"/>
            <a:ext cx="142875" cy="142875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00" b="1" smtClean="0">
              <a:solidFill>
                <a:srgbClr val="111111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24"/>
            </p:custDataLst>
          </p:nvPr>
        </p:nvSpPr>
        <p:spPr bwMode="auto">
          <a:xfrm>
            <a:off x="5810250" y="5268913"/>
            <a:ext cx="1716087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2973642-BB14-4830-A2FB-80216AC41DCA}" type="datetime'Absa''t''''''z ''i''''n'''' ''Pa''''cku''''n''''ge''''n '''">
              <a:rPr lang="en-US" altLang="en-US" sz="1400">
                <a:cs typeface="Arial" panose="020B0604020202020204" pitchFamily="34" charset="0"/>
              </a:rPr>
              <a:pPr eaLnBrk="0" hangingPunct="0"/>
              <a:t>Absatz in Packungen </a:t>
            </a:fld>
            <a:endParaRPr lang="de-DE" sz="1400" dirty="0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Rechteck 17"/>
          <p:cNvSpPr/>
          <p:nvPr>
            <p:custDataLst>
              <p:tags r:id="rId25"/>
            </p:custDataLst>
          </p:nvPr>
        </p:nvSpPr>
        <p:spPr bwMode="auto">
          <a:xfrm>
            <a:off x="2333625" y="5268913"/>
            <a:ext cx="2995612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FAF7B6DF-F4AF-4A3F-82DA-412A1AF5DBEB}" type="datetime'Ve''ränderu''ngsra''''t''e zu''''m Vo''''rm''''on''at i''n %'">
              <a:rPr lang="en-US" altLang="en-US" sz="1400">
                <a:cs typeface="Arial" panose="020B0604020202020204" pitchFamily="34" charset="0"/>
              </a:rPr>
              <a:pPr eaLnBrk="0" hangingPunct="0"/>
              <a:t>Veränderungsrate zum Vormonat in %</a:t>
            </a:fld>
            <a:endParaRPr lang="de-DE" sz="1400" smtClean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4" name="Titel 6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dirty="0" smtClean="0">
                <a:sym typeface="Arial"/>
              </a:rPr>
              <a:t>Rund 80 % mehr Cannabis-Verordnungen zwischen März und Mai </a:t>
            </a:r>
            <a:r>
              <a:rPr lang="de-DE" dirty="0" smtClean="0">
                <a:sym typeface="Arial"/>
              </a:rPr>
              <a:t>2017 – niedrige Ausgangsbasis </a:t>
            </a:r>
            <a:endParaRPr lang="de-DE" dirty="0">
              <a:sym typeface="Arial"/>
            </a:endParaRPr>
          </a:p>
        </p:txBody>
      </p:sp>
      <p:sp>
        <p:nvSpPr>
          <p:cNvPr id="41" name="Fußzeilenplatzhalter 40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2017, QuintilesIMS (IMS HEALTH GmbH &amp; Co. OHG). All rights reserved.</a:t>
            </a:r>
          </a:p>
        </p:txBody>
      </p:sp>
      <p:sp>
        <p:nvSpPr>
          <p:cNvPr id="2479109" name="Rectangle 9"/>
          <p:cNvSpPr>
            <a:spLocks noChangeArrowheads="1"/>
          </p:cNvSpPr>
          <p:nvPr/>
        </p:nvSpPr>
        <p:spPr bwMode="auto">
          <a:xfrm rot="16200000">
            <a:off x="-832544" y="3100388"/>
            <a:ext cx="2598585" cy="136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de-DE" sz="1200" b="1" dirty="0" smtClean="0">
                <a:solidFill>
                  <a:srgbClr val="111111"/>
                </a:solidFill>
                <a:latin typeface="Arial"/>
                <a:cs typeface="Arial"/>
                <a:sym typeface="Arial"/>
              </a:rPr>
              <a:t>Absatz in </a:t>
            </a:r>
            <a:r>
              <a:rPr lang="de-DE" sz="1200" b="1" dirty="0" smtClean="0">
                <a:solidFill>
                  <a:srgbClr val="111111"/>
                </a:solidFill>
                <a:latin typeface="Arial"/>
                <a:cs typeface="Arial"/>
                <a:sym typeface="Arial"/>
              </a:rPr>
              <a:t>Packungen</a:t>
            </a:r>
            <a:endParaRPr lang="de-DE" sz="1200" b="1" dirty="0">
              <a:solidFill>
                <a:srgbClr val="11111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5" name="Rectangle 9"/>
          <p:cNvSpPr>
            <a:spLocks noChangeArrowheads="1"/>
          </p:cNvSpPr>
          <p:nvPr/>
        </p:nvSpPr>
        <p:spPr bwMode="auto">
          <a:xfrm rot="16200000">
            <a:off x="7021169" y="3032125"/>
            <a:ext cx="3229582" cy="18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r>
              <a:rPr lang="de-DE" sz="1200" b="1" dirty="0" smtClean="0">
                <a:solidFill>
                  <a:srgbClr val="111111"/>
                </a:solidFill>
                <a:latin typeface="Arial"/>
                <a:cs typeface="Arial"/>
                <a:sym typeface="Arial"/>
              </a:rPr>
              <a:t>Veränderungsrate zum Vormonat in +/- %</a:t>
            </a:r>
            <a:endParaRPr lang="de-DE" sz="1200" b="1" dirty="0">
              <a:solidFill>
                <a:srgbClr val="11111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36" name="Gerade Verbindung 35"/>
          <p:cNvCxnSpPr/>
          <p:nvPr/>
        </p:nvCxnSpPr>
        <p:spPr>
          <a:xfrm flipV="1">
            <a:off x="4591455" y="1186774"/>
            <a:ext cx="9728" cy="428017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/>
        </p:nvCxnSpPr>
        <p:spPr>
          <a:xfrm flipV="1">
            <a:off x="7393021" y="1196502"/>
            <a:ext cx="0" cy="447472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>
            <a:off x="4591455" y="1177047"/>
            <a:ext cx="1001949" cy="9727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>
          <a:xfrm flipH="1">
            <a:off x="6293796" y="1186775"/>
            <a:ext cx="1089499" cy="9727"/>
          </a:xfrm>
          <a:prstGeom prst="line">
            <a:avLst/>
          </a:prstGeom>
          <a:ln w="12700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/>
          <p:cNvSpPr/>
          <p:nvPr/>
        </p:nvSpPr>
        <p:spPr>
          <a:xfrm>
            <a:off x="5603131" y="1040859"/>
            <a:ext cx="768485" cy="2723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r>
              <a:rPr lang="de-DE" sz="1400" dirty="0" smtClean="0">
                <a:solidFill>
                  <a:schemeClr val="tx1"/>
                </a:solidFill>
              </a:rPr>
              <a:t>+ 79 % </a:t>
            </a:r>
            <a:endParaRPr lang="de-DE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8621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1D&quot; g=&quot;AA&quot; b=&quot;E3&quot;/&gt;&lt;m_nBrightness val=&quot;0&quot;/&gt;&lt;/elem&gt;&lt;elem m_fUsage=&quot;9.00000000000000022204E-01&quot;&gt;&lt;m_msothmcolidx val=&quot;0&quot;/&gt;&lt;m_rgb r=&quot;FF&quot; g=&quot;94&quot; b=&quot;0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B0pUZJSdK9GBLGY0pn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h3vb1GWEibhXiGKzCf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dW_DZdSnmO93py013F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8StvY.1UiLI7KvbZzh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xxtnKTzSeyw8JHeq5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pU.wrelkm6z0wD63q3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2Q3ukKS6aFcJuEehHP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oVOm_YjECQxAQBe_zS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RfzTZGQA2iU.srLjKN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WzVkL1AEmR4llgSRDB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XVN.tDVUuf9Lp8O026l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lFI1N6SnWHqgewkeYm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6xwupRPkyZSMu4CDGI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S2.K854UOYzIEtibba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Pqha.gmkK0EQdU1zS0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mOrt4YLU2QJjbmhrWQ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PQcNi7GEKwtHs1iIGq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S5_i_nQdemyfeInvZ3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S2Gy1TRXWfj1P1Jo8S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HJ5R6WSCuUDczgXDdT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bnLUJfT1iZ0dgrOeo0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wl_90Sfin2ZVgxelc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CVqtwZS2mPJqER0UeO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NtTF9iRPymBdPD8ATYxw"/>
</p:tagLst>
</file>

<file path=ppt/theme/theme1.xml><?xml version="1.0" encoding="utf-8"?>
<a:theme xmlns:a="http://schemas.openxmlformats.org/drawingml/2006/main" name="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äsentation1" id="{3E08A2A9-CE67-4671-85A8-36B571D5EED2}" vid="{F2357A08-6A6C-4E42-98A9-FE645BF8DFE2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828BBCD8003E44BC240E48D9D068CA" ma:contentTypeVersion="0" ma:contentTypeDescription="Create a new document." ma:contentTypeScope="" ma:versionID="190f03141b091916b0461515e7bdf12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3A6FA-0453-40DE-A6F7-41C72E06F6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8273E7C-77D6-439D-9953-67AAF9AE33C0}">
  <ds:schemaRefs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8</Words>
  <Application>Microsoft Office PowerPoint</Application>
  <PresentationFormat>Bildschirmpräsentation (4:3)</PresentationFormat>
  <Paragraphs>27</Paragraphs>
  <Slides>1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Quintiles_PPT_Template_11Mar15</vt:lpstr>
      <vt:lpstr>think-cell Folie</vt:lpstr>
      <vt:lpstr>Microsoft Graph Chart</vt:lpstr>
      <vt:lpstr>Rund 80 % mehr Cannabis-Verordnungen zwischen März und Mai 2017 – niedrige Ausgangsbasis </vt:lpstr>
    </vt:vector>
  </TitlesOfParts>
  <Company>Quintil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ta Carius</dc:creator>
  <cp:lastModifiedBy>gmaag</cp:lastModifiedBy>
  <cp:revision>29</cp:revision>
  <dcterms:created xsi:type="dcterms:W3CDTF">2017-02-28T15:43:54Z</dcterms:created>
  <dcterms:modified xsi:type="dcterms:W3CDTF">2017-07-17T13:57:02Z</dcterms:modified>
</cp:coreProperties>
</file>